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75238"/>
  </p:normalViewPr>
  <p:slideViewPr>
    <p:cSldViewPr snapToGrid="0">
      <p:cViewPr varScale="1">
        <p:scale>
          <a:sx n="95" d="100"/>
          <a:sy n="95" d="100"/>
        </p:scale>
        <p:origin x="121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4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4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81751"/>
              </p:ext>
            </p:extLst>
          </p:nvPr>
        </p:nvGraphicFramePr>
        <p:xfrm>
          <a:off x="107256" y="1007241"/>
          <a:ext cx="8945798" cy="591027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6d</a:t>
                      </a:r>
                      <a:br/>
                      <a:r>
                        <a:t> (⬆ - 5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0 / 4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8 / 15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2 (47 - 21 - 4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25% - 17.36% - 3.4%</a:t>
                      </a:r>
                      <a:br/>
                      <a:r>
                        <a:t> (⬆ - 4.09% / ⬆ - 2.01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20h</a:t>
                      </a:r>
                      <a:br/>
                      <a:r>
                        <a:t> (⬇ + 4d 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8 / 2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2 (51 - 22 - 9)</a:t>
                      </a:r>
                      <a:br/>
                      <a:r>
                        <a:t> (⬇ -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.39% - 24.42% - 8.19%</a:t>
                      </a:r>
                      <a:br/>
                      <a:r>
                        <a:t> (⬇ + 15.54% / ⬇ + 4.6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3d 14h</a:t>
                      </a:r>
                      <a:br/>
                      <a:r>
                        <a:t> (⬆ - 5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0</a:t>
                      </a:r>
                      <a:br/>
                      <a:r>
                        <a:t> (⬇ +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2 (15 - 11 - 6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2.18% - 20.55% - 7.27%</a:t>
                      </a:r>
                      <a:br/>
                      <a:r>
                        <a:t> (⬇ + 5.8% / ⬇ + 0.9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</a:t>
                      </a:r>
                      <a:br/>
                      <a:r>
                        <a:t> (⬆ - 6d 5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4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3 (10 - 12 - 1)</a:t>
                      </a:r>
                      <a:br/>
                      <a:r>
                        <a:t> (⬇ - 2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6% - 12.23% - 6.17%</a:t>
                      </a:r>
                      <a:br/>
                      <a:r>
                        <a:t> (⬇ + 8.02% / ⬆ - 12.46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 12h</a:t>
                      </a:r>
                      <a:br/>
                      <a:r>
                        <a:t> (⬇ + 3d 17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3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2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0 (27 - 15 - 8)</a:t>
                      </a:r>
                      <a:br/>
                      <a:r>
                        <a:t> (⬇ -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97% - 14.43% - 8.6%</a:t>
                      </a:r>
                      <a:br/>
                      <a:r>
                        <a:t> (⬇ + 7.02% / ⬇ + 2.1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h</a:t>
                      </a:r>
                      <a:br/>
                      <a:r>
                        <a:t> (⬆ - 11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9 (11 - 6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.49% - 2.12% - 1.39%</a:t>
                      </a:r>
                      <a:br/>
                      <a:r>
                        <a:t> (⬆ - 13.51% / ⬆ - 3.64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2d 15h</a:t>
                      </a:r>
                      <a:br/>
                      <a:r>
                        <a:t> (⬇ + 11d 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(2 - 4 - 5)</a:t>
                      </a:r>
                      <a:br/>
                      <a:r>
                        <a:t> (⬆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.26% - 28.03% - 7.71%</a:t>
                      </a:r>
                      <a:br/>
                      <a:r>
                        <a:t> (⬇ + 24.52% / ⬆ - 7.7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1h</a:t>
                      </a:r>
                      <a:br/>
                      <a:r>
                        <a:t> (⬇ + 4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3 (22 - 9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25% - 3.93% - 16.82%</a:t>
                      </a:r>
                      <a:br/>
                      <a:r>
                        <a:t> (⬆ - 5.13% / ⬇ + 10.1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3d 17h</a:t>
                      </a:r>
                      <a:br/>
                      <a:r>
                        <a:t> (⬆ - 2d 2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 / 1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2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(8 - 5 - 3)</a:t>
                      </a:r>
                      <a:br/>
                      <a:r>
                        <a:t> (⬇ -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1.06% - 34.73% - 4.2%</a:t>
                      </a:r>
                      <a:br/>
                      <a:r>
                        <a:t> (⬇ + 25.14% / ⬆ - 18.12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18843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125170" y="640817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1061470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153004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527221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90796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89912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257554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71702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6</cp:revision>
  <dcterms:created xsi:type="dcterms:W3CDTF">2023-10-30T14:38:48Z</dcterms:created>
  <dcterms:modified xsi:type="dcterms:W3CDTF">2023-12-04T18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